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62" r:id="rId5"/>
    <p:sldId id="263" r:id="rId6"/>
    <p:sldId id="264" r:id="rId7"/>
    <p:sldId id="258" r:id="rId8"/>
    <p:sldId id="260" r:id="rId9"/>
    <p:sldId id="256" r:id="rId10"/>
    <p:sldId id="257" r:id="rId11"/>
    <p:sldId id="265" r:id="rId12"/>
    <p:sldId id="259" r:id="rId13"/>
    <p:sldId id="266" r:id="rId14"/>
    <p:sldId id="267" r:id="rId15"/>
    <p:sldId id="268" r:id="rId16"/>
    <p:sldId id="270" r:id="rId17"/>
    <p:sldId id="271" r:id="rId18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0" d="100"/>
          <a:sy n="70" d="100"/>
        </p:scale>
        <p:origin x="209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06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06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06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06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06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6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6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6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6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6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6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06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06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6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06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06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6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6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6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6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6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6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6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6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6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6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0150" y="9596042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Mobilepay </a:t>
            </a:r>
            <a:r>
              <a:rPr lang="da-DK" sz="1100" b="1" dirty="0" err="1" smtClean="0">
                <a:solidFill>
                  <a:schemeClr val="accent4"/>
                </a:solidFill>
              </a:rPr>
              <a:t>button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tha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oul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be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</a:t>
              </a:r>
              <a:r>
                <a:rPr lang="da-DK" sz="1100" b="1" dirty="0">
                  <a:solidFill>
                    <a:schemeClr val="accent4"/>
                  </a:solidFill>
                </a:rPr>
                <a:t>=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3296" y="245096"/>
            <a:ext cx="8146244" cy="7917573"/>
            <a:chOff x="313296" y="245096"/>
            <a:chExt cx="8146244" cy="7917573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672266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6148072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032770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5428072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/>
          <p:cNvGrpSpPr/>
          <p:nvPr/>
        </p:nvGrpSpPr>
        <p:grpSpPr>
          <a:xfrm>
            <a:off x="303671" y="181355"/>
            <a:ext cx="9381573" cy="10705265"/>
            <a:chOff x="303671" y="181355"/>
            <a:chExt cx="9381573" cy="10705265"/>
          </a:xfrm>
        </p:grpSpPr>
        <p:sp>
          <p:nvSpPr>
            <p:cNvPr id="7" name="Oval 6"/>
            <p:cNvSpPr/>
            <p:nvPr/>
          </p:nvSpPr>
          <p:spPr>
            <a:xfrm>
              <a:off x="2576793" y="61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85742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18135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21513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33513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13742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79679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33513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23679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44662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887202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516799"/>
              <a:ext cx="5668451" cy="463522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15202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79266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79747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19380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19861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49513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49513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79679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60150" y="6669959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0150" y="8922274"/>
              <a:ext cx="3248562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5827</TotalTime>
  <Words>564</Words>
  <Application>Microsoft Office PowerPoint</Application>
  <PresentationFormat>Custom</PresentationFormat>
  <Paragraphs>200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Thomas Toftkjær</cp:lastModifiedBy>
  <cp:revision>50</cp:revision>
  <dcterms:created xsi:type="dcterms:W3CDTF">2019-10-15T10:47:01Z</dcterms:created>
  <dcterms:modified xsi:type="dcterms:W3CDTF">2019-11-07T09:03:16Z</dcterms:modified>
</cp:coreProperties>
</file>